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7b8273dd61f5437a" Type="http://schemas.microsoft.com/office/2007/relationships/ui/extensibility" Target="customUI/customUI14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68" r:id="rId1"/>
  </p:sldMasterIdLst>
  <p:notesMasterIdLst>
    <p:notesMasterId r:id="rId9"/>
  </p:notesMasterIdLst>
  <p:handoutMasterIdLst>
    <p:handoutMasterId r:id="rId10"/>
  </p:handoutMasterIdLst>
  <p:sldIdLst>
    <p:sldId id="696" r:id="rId2"/>
    <p:sldId id="707" r:id="rId3"/>
    <p:sldId id="703" r:id="rId4"/>
    <p:sldId id="698" r:id="rId5"/>
    <p:sldId id="699" r:id="rId6"/>
    <p:sldId id="700" r:id="rId7"/>
    <p:sldId id="701" r:id="rId8"/>
  </p:sldIdLst>
  <p:sldSz cx="9602788" cy="6858000"/>
  <p:notesSz cx="7010400" cy="9296400"/>
  <p:custDataLst>
    <p:tags r:id="rId11"/>
  </p:custDataLst>
  <p:defaultTextStyle>
    <a:defPPr>
      <a:defRPr lang="en-GB"/>
    </a:defPPr>
    <a:lvl1pPr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6000"/>
      </a:lnSpc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6" userDrawn="1">
          <p15:clr>
            <a:srgbClr val="A4A3A4"/>
          </p15:clr>
        </p15:guide>
        <p15:guide id="2" orient="horz" pos="881" userDrawn="1">
          <p15:clr>
            <a:srgbClr val="A4A3A4"/>
          </p15:clr>
        </p15:guide>
        <p15:guide id="3" orient="horz" pos="3992" userDrawn="1">
          <p15:clr>
            <a:srgbClr val="A4A3A4"/>
          </p15:clr>
        </p15:guide>
        <p15:guide id="4" orient="horz" pos="4319">
          <p15:clr>
            <a:srgbClr val="A4A3A4"/>
          </p15:clr>
        </p15:guide>
        <p15:guide id="5" pos="288">
          <p15:clr>
            <a:srgbClr val="A4A3A4"/>
          </p15:clr>
        </p15:guide>
        <p15:guide id="6" pos="5765" userDrawn="1">
          <p15:clr>
            <a:srgbClr val="A4A3A4"/>
          </p15:clr>
        </p15:guide>
        <p15:guide id="7" orient="horz" pos="20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F6E6"/>
    <a:srgbClr val="FFFFCC"/>
    <a:srgbClr val="FFCCCC"/>
    <a:srgbClr val="FCE0E2"/>
    <a:srgbClr val="FFDDDD"/>
    <a:srgbClr val="008AB3"/>
    <a:srgbClr val="D7E4BD"/>
    <a:srgbClr val="FF0000"/>
    <a:srgbClr val="BFBFBF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10" autoAdjust="0"/>
    <p:restoredTop sz="99858" autoAdjust="0"/>
  </p:normalViewPr>
  <p:slideViewPr>
    <p:cSldViewPr snapToGrid="0" showGuides="1">
      <p:cViewPr>
        <p:scale>
          <a:sx n="100" d="100"/>
          <a:sy n="100" d="100"/>
        </p:scale>
        <p:origin x="-858" y="1002"/>
      </p:cViewPr>
      <p:guideLst>
        <p:guide orient="horz" pos="4083"/>
        <p:guide orient="horz" pos="1107"/>
        <p:guide orient="horz" pos="893"/>
        <p:guide pos="221"/>
        <p:guide pos="58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2802" y="-7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endParaRPr lang="en-GB" dirty="0">
              <a:latin typeface="+mn-lt"/>
              <a:ea typeface="+mn-lt"/>
              <a:sym typeface="Arial"/>
            </a:endParaRP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/>
            </a:lvl1pPr>
          </a:lstStyle>
          <a:p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/>
            </a:lvl1pPr>
          </a:lstStyle>
          <a:p>
            <a:fld id="{9BBE641A-A38A-4199-A515-2A762F6E34D5}" type="slidenum">
              <a:rPr lang="en-GB" smtClean="0">
                <a:solidFill>
                  <a:schemeClr val="accent3"/>
                </a:solidFill>
                <a:latin typeface="+mn-lt"/>
                <a:ea typeface="+mn-lt"/>
                <a:sym typeface="Arial"/>
              </a:rPr>
              <a:pPr/>
              <a:t>‹#›</a:t>
            </a:fld>
            <a:endParaRPr lang="en-GB" dirty="0">
              <a:solidFill>
                <a:schemeClr val="accent3"/>
              </a:solidFill>
              <a:latin typeface="+mn-lt"/>
              <a:ea typeface="+mn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3503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084" y="1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t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5213" y="696913"/>
            <a:ext cx="4883150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410" y="4415157"/>
            <a:ext cx="5609587" cy="41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29949" lvl="0" indent="-229949" eaLnBrk="1" hangingPunct="1">
              <a:spcBef>
                <a:spcPct val="60000"/>
              </a:spcBef>
              <a:spcAft>
                <a:spcPts val="604"/>
              </a:spcAft>
              <a:buChar char="•"/>
            </a:pPr>
            <a:r>
              <a:rPr lang="en-GB" dirty="0" smtClean="0"/>
              <a:t>Click to edit Master text styles</a:t>
            </a:r>
          </a:p>
          <a:p>
            <a:pPr lvl="1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–"/>
            </a:pPr>
            <a:r>
              <a:rPr lang="en-GB" dirty="0" smtClean="0"/>
              <a:t>2nd level</a:t>
            </a:r>
          </a:p>
          <a:p>
            <a:pPr marL="689846" lvl="2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3rd level</a:t>
            </a:r>
          </a:p>
          <a:p>
            <a:pPr marL="919795" lvl="3" indent="-229949" eaLnBrk="1" hangingPunct="1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4th level</a:t>
            </a:r>
          </a:p>
          <a:p>
            <a:pPr marL="1149744" lvl="4" indent="-229949" eaLnBrk="1" hangingPunct="1"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Char char="-"/>
            </a:pPr>
            <a:r>
              <a:rPr lang="en-GB" dirty="0" smtClean="0"/>
              <a:t>5th level</a:t>
            </a:r>
          </a:p>
          <a:p>
            <a:pPr marL="1379692" lvl="5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6th level</a:t>
            </a:r>
          </a:p>
          <a:p>
            <a:pPr marL="1609641" lvl="6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7th level</a:t>
            </a:r>
          </a:p>
          <a:p>
            <a:pPr marL="1839590" lvl="7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8th level</a:t>
            </a:r>
          </a:p>
          <a:p>
            <a:pPr marL="2069539" lvl="8" indent="-229949" fontAlgn="base">
              <a:spcBef>
                <a:spcPts val="0"/>
              </a:spcBef>
              <a:spcAft>
                <a:spcPts val="604"/>
              </a:spcAft>
              <a:buFont typeface="Arial" charset="0"/>
              <a:buChar char="-"/>
            </a:pPr>
            <a:r>
              <a:rPr lang="en-GB" dirty="0" smtClean="0"/>
              <a:t>9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l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084" y="8830313"/>
            <a:ext cx="3037734" cy="464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475" tIns="47238" rIns="94475" bIns="47238" numCol="1" anchor="b" anchorCtr="0" compatLnSpc="1">
            <a:prstTxWarp prst="textNoShape">
              <a:avLst/>
            </a:prstTxWarp>
          </a:bodyPr>
          <a:lstStyle>
            <a:lvl1pPr algn="r" defTabSz="944967">
              <a:lnSpc>
                <a:spcPct val="100000"/>
              </a:lnSpc>
              <a:defRPr sz="1200">
                <a:solidFill>
                  <a:schemeClr val="accent3"/>
                </a:solidFill>
                <a:latin typeface="+mn-lt"/>
                <a:ea typeface="+mn-ea"/>
                <a:sym typeface="+mn-lt"/>
              </a:defRPr>
            </a:lvl1pPr>
          </a:lstStyle>
          <a:p>
            <a:fld id="{26BEA98B-8E54-4CD0-82BB-B61F2ACC55F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2697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4572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9144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13716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1828800" algn="l" rtl="0" fontAlgn="base">
      <a:spcBef>
        <a:spcPct val="30000"/>
      </a:spcBef>
      <a:spcAft>
        <a:spcPct val="0"/>
      </a:spcAft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6pPr>
    <a:lvl7pPr marL="27432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7pPr>
    <a:lvl8pPr marL="3200400" algn="l" defTabSz="914400" rtl="0" eaLnBrk="1" latinLnBrk="0" hangingPunct="1">
      <a:defRPr lang="en-GB" sz="1400" kern="1200" dirty="0" smtClean="0">
        <a:solidFill>
          <a:schemeClr val="tx1"/>
        </a:solidFill>
        <a:latin typeface="+mn-lt"/>
        <a:ea typeface="+mn-ea"/>
        <a:cs typeface="+mn-cs"/>
        <a:sym typeface="+mn-lt"/>
      </a:defRPr>
    </a:lvl8pPr>
    <a:lvl9pPr marL="3657600" algn="l" defTabSz="914400" rtl="0" eaLnBrk="1" latinLnBrk="0" hangingPunct="1">
      <a:defRPr lang="en-GB" sz="1400" kern="1200" baseline="0" dirty="0" smtClean="0">
        <a:solidFill>
          <a:schemeClr val="tx1"/>
        </a:solidFill>
        <a:latin typeface="+mn-lt"/>
        <a:ea typeface="+mn-ea"/>
        <a:cs typeface="+mn-cs"/>
        <a:sym typeface="+mn-lt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17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5B168E-2D4F-4C34-B0B9-704A69CF462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056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8437" y="2897188"/>
            <a:ext cx="8549149" cy="349250"/>
          </a:xfrm>
          <a:prstGeom prst="rect">
            <a:avLst/>
          </a:prstGeom>
        </p:spPr>
        <p:txBody>
          <a:bodyPr lIns="0" rIns="163449"/>
          <a:lstStyle>
            <a:lvl1pPr marL="0" indent="0">
              <a:buNone/>
              <a:defRPr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 smtClean="0">
                <a:solidFill>
                  <a:srgbClr val="FF0000"/>
                </a:solidFill>
                <a:latin typeface="Arial"/>
                <a:cs typeface="Arial"/>
              </a:rPr>
              <a:t>SHUSA COMMITTEE/BOARD (Arial 24pt Bold/Red)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3275665"/>
            <a:ext cx="8541647" cy="349250"/>
          </a:xfrm>
          <a:prstGeom prst="rect">
            <a:avLst/>
          </a:prstGeom>
        </p:spPr>
        <p:txBody>
          <a:bodyPr lIns="0" rIns="199453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 smtClean="0"/>
              <a:t>Title of Presentation 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ust match Agenda, Arial 20pt Bold/Black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355938" y="3706427"/>
            <a:ext cx="4547155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Date (Arial 18pt Black)</a:t>
            </a:r>
            <a:endParaRPr lang="en-GB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55935" y="4339840"/>
            <a:ext cx="8541648" cy="43021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Presenter: Name and Title (Arial 18pt Gra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721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5938" y="2897188"/>
            <a:ext cx="8541647" cy="349250"/>
          </a:xfrm>
          <a:prstGeom prst="rect">
            <a:avLst/>
          </a:prstGeom>
        </p:spPr>
        <p:txBody>
          <a:bodyPr lIns="0" rIns="163449"/>
          <a:lstStyle>
            <a:lvl1pPr>
              <a:defRPr lang="en-GB" sz="24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marL="0" lvl="0" indent="0">
              <a:buNone/>
            </a:pPr>
            <a:r>
              <a:rPr lang="en-GB" dirty="0" smtClean="0"/>
              <a:t>Section #</a:t>
            </a:r>
            <a:endParaRPr lang="en-GB" dirty="0"/>
          </a:p>
        </p:txBody>
      </p:sp>
      <p:sp>
        <p:nvSpPr>
          <p:cNvPr id="4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" sz="2400" dirty="0">
              <a:ln w="9525" cmpd="sng">
                <a:solidFill>
                  <a:srgbClr val="000000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1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0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1460500"/>
            <a:ext cx="8829230" cy="4992687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171577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5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733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48435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48435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68378" y="1470025"/>
            <a:ext cx="4091188" cy="487361"/>
          </a:xfrm>
          <a:prstGeom prst="rect">
            <a:avLst/>
          </a:prstGeom>
        </p:spPr>
        <p:txBody>
          <a:bodyPr lIns="19431" tIns="0" bIns="153733"/>
          <a:lstStyle>
            <a:lvl1pPr marL="0" indent="0">
              <a:buNone/>
              <a:defRPr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62550" y="2163204"/>
            <a:ext cx="4091188" cy="3921683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57768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&amp; 1/3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785970" y="1457159"/>
            <a:ext cx="2391695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348435" y="1457159"/>
            <a:ext cx="5837361" cy="4614865"/>
          </a:xfrm>
          <a:prstGeom prst="rect">
            <a:avLst/>
          </a:prstGeom>
        </p:spPr>
        <p:txBody>
          <a:bodyPr lIns="19431"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</a:t>
            </a: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8557883" y="99785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>
                <a:lnSpc>
                  <a:spcPct val="100000"/>
                </a:lnSpc>
              </a:pPr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7" y="888120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48437" y="452510"/>
            <a:ext cx="8666245" cy="4356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(Arial 24pt Bold/Black)</a:t>
            </a:r>
          </a:p>
        </p:txBody>
      </p:sp>
    </p:spTree>
    <p:extLst>
      <p:ext uri="{BB962C8B-B14F-4D97-AF65-F5344CB8AC3E}">
        <p14:creationId xmlns:p14="http://schemas.microsoft.com/office/powerpoint/2010/main" val="1360059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6027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00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557881" y="99784"/>
            <a:ext cx="913599" cy="2214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B98CC7B8-F110-4D3A-ACF6-8C19E354A8EE}" type="slidenum">
              <a:rPr lang="es-ES_tradnl" sz="1200" b="1" smtClean="0">
                <a:solidFill>
                  <a:srgbClr val="FF0000"/>
                </a:solidFill>
                <a:latin typeface="Arial"/>
                <a:cs typeface="Arial"/>
              </a:rPr>
              <a:pPr algn="r"/>
              <a:t>‹#›</a:t>
            </a:fld>
            <a:endParaRPr lang="es-ES_tradnl" sz="12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35" y="646792"/>
            <a:ext cx="8885913" cy="12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635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9"/>
          <p:cNvSpPr>
            <a:spLocks noChangeShapeType="1"/>
          </p:cNvSpPr>
          <p:nvPr userDrawn="1"/>
        </p:nvSpPr>
        <p:spPr bwMode="auto">
          <a:xfrm>
            <a:off x="348435" y="2802939"/>
            <a:ext cx="1791588" cy="0"/>
          </a:xfrm>
          <a:prstGeom prst="line">
            <a:avLst/>
          </a:prstGeom>
          <a:noFill/>
          <a:ln w="57150" cmpd="sng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defRPr/>
            </a:pPr>
            <a:endParaRPr lang="es-ES" sz="2400" dirty="0">
              <a:ln w="9525" cmpd="sng">
                <a:solidFill>
                  <a:prstClr val="black"/>
                </a:solidFill>
              </a:ln>
              <a:solidFill>
                <a:srgbClr val="DB0B1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07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6752203"/>
              </p:ext>
            </p:extLst>
          </p:nvPr>
        </p:nvGraphicFramePr>
        <p:xfrm>
          <a:off x="1670" y="1592"/>
          <a:ext cx="166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7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70" y="1592"/>
                        <a:ext cx="166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454130" y="6632624"/>
            <a:ext cx="199208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baseline="30000" dirty="0">
                <a:solidFill>
                  <a:schemeClr val="tx1"/>
                </a:solidFill>
              </a:rPr>
              <a:t>Proprietary &amp; Confidential</a:t>
            </a:r>
            <a:endParaRPr lang="en-US" sz="1500" b="1" dirty="0">
              <a:solidFill>
                <a:schemeClr val="tx1"/>
              </a:solidFill>
            </a:endParaRPr>
          </a:p>
        </p:txBody>
      </p:sp>
      <p:pic>
        <p:nvPicPr>
          <p:cNvPr id="8" name="Picture 2" descr="C:\Users\n610821\Desktop\sant-MReg_positivo_RGB.300.jp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69" y="6166951"/>
            <a:ext cx="1707505" cy="497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35909" y="6321262"/>
            <a:ext cx="174765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baseline="30000" dirty="0" smtClean="0">
                <a:solidFill>
                  <a:schemeClr val="tx1"/>
                </a:solidFill>
              </a:rPr>
              <a:t>Santander Holdings USA</a:t>
            </a:r>
            <a:r>
              <a:rPr lang="en-US" sz="1500" b="1" baseline="0" dirty="0" smtClean="0">
                <a:solidFill>
                  <a:schemeClr val="tx1"/>
                </a:solidFill>
              </a:rPr>
              <a:t> </a:t>
            </a:r>
            <a:endParaRPr lang="en-US" sz="15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57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9" r:id="rId2"/>
    <p:sldLayoutId id="2147483771" r:id="rId3"/>
    <p:sldLayoutId id="2147483772" r:id="rId4"/>
    <p:sldLayoutId id="2147483774" r:id="rId5"/>
    <p:sldLayoutId id="2147483775" r:id="rId6"/>
    <p:sldLayoutId id="2147483782" r:id="rId7"/>
    <p:sldLayoutId id="2147483784" r:id="rId8"/>
    <p:sldLayoutId id="2147483785" r:id="rId9"/>
    <p:sldLayoutId id="2147483786" r:id="rId10"/>
    <p:sldLayoutId id="2147483787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55937" y="2963670"/>
            <a:ext cx="8550815" cy="350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400" b="1" dirty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SHUSA </a:t>
            </a:r>
            <a:r>
              <a:rPr lang="en-US" sz="2400" b="1" dirty="0" smtClean="0">
                <a:solidFill>
                  <a:srgbClr val="FF0000"/>
                </a:solidFill>
                <a:latin typeface="Arial"/>
                <a:ea typeface="MS PGothic" pitchFamily="34" charset="-128"/>
                <a:cs typeface="Arial"/>
              </a:rPr>
              <a:t>COMMITTEE / BOARD</a:t>
            </a:r>
            <a:endParaRPr lang="en-US" sz="2400" b="1" dirty="0">
              <a:solidFill>
                <a:srgbClr val="FF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8" name="5 CuadroTexto"/>
          <p:cNvSpPr txBox="1"/>
          <p:nvPr/>
        </p:nvSpPr>
        <p:spPr>
          <a:xfrm>
            <a:off x="251570" y="5974930"/>
            <a:ext cx="5327193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0" hangingPunct="0">
              <a:defRPr/>
            </a:pP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Draft</a:t>
            </a:r>
            <a:endParaRPr lang="en-US" sz="14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9" name="5 CuadroTexto"/>
          <p:cNvSpPr txBox="1"/>
          <p:nvPr/>
        </p:nvSpPr>
        <p:spPr>
          <a:xfrm>
            <a:off x="3451568" y="174076"/>
            <a:ext cx="5887979" cy="2776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For </a:t>
            </a:r>
            <a:r>
              <a:rPr lang="en-US" sz="1400" b="1" dirty="0" smtClean="0">
                <a:solidFill>
                  <a:srgbClr val="000000"/>
                </a:solidFill>
                <a:latin typeface="Arial"/>
                <a:ea typeface="MS PGothic" pitchFamily="34" charset="-128"/>
                <a:cs typeface="Arial"/>
              </a:rPr>
              <a:t>Review</a:t>
            </a:r>
            <a:endParaRPr lang="en-US" sz="1400" b="1" dirty="0">
              <a:solidFill>
                <a:srgbClr val="000000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348435" y="4349163"/>
            <a:ext cx="8550815" cy="664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120000"/>
              </a:lnSpc>
              <a:spcBef>
                <a:spcPct val="0"/>
              </a:spcBef>
            </a:pPr>
            <a:r>
              <a:rPr lang="en-US" sz="1800" dirty="0" smtClean="0">
                <a:solidFill>
                  <a:prstClr val="white">
                    <a:lumMod val="50000"/>
                  </a:prstClr>
                </a:solidFill>
                <a:latin typeface="Arial"/>
                <a:ea typeface="MS PGothic" pitchFamily="34" charset="-128"/>
                <a:cs typeface="Arial"/>
              </a:rPr>
              <a:t>SHUSA Risk Appetite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  <a:p>
            <a:pPr eaLnBrk="0" hangingPunct="0">
              <a:lnSpc>
                <a:spcPct val="120000"/>
              </a:lnSpc>
              <a:spcBef>
                <a:spcPct val="0"/>
              </a:spcBef>
            </a:pPr>
            <a:endParaRPr lang="en-US" sz="1800" i="1" dirty="0">
              <a:solidFill>
                <a:prstClr val="white">
                  <a:lumMod val="50000"/>
                </a:prstClr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55937" y="3313765"/>
            <a:ext cx="855081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b="1" dirty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HUSA Risk Appetite </a:t>
            </a:r>
            <a:r>
              <a:rPr lang="en-US" sz="1800" b="1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tatement– June Report</a:t>
            </a:r>
          </a:p>
          <a:p>
            <a:pPr algn="l" eaLnBrk="0" fontAlgn="base" hangingPunct="0">
              <a:lnSpc>
                <a:spcPts val="27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June 2016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05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682161"/>
              </p:ext>
            </p:extLst>
          </p:nvPr>
        </p:nvGraphicFramePr>
        <p:xfrm>
          <a:off x="365786" y="718658"/>
          <a:ext cx="8863940" cy="4716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6394"/>
                <a:gridCol w="7977546"/>
              </a:tblGrid>
              <a:tr h="15377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 Metrics Summary, Assessment &amp; Key Actions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68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ic</a:t>
                      </a:r>
                      <a:endParaRPr lang="en-US" sz="9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 </a:t>
                      </a:r>
                      <a:endParaRPr lang="en-US" sz="900" u="none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0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quacy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</a:t>
                      </a:r>
                      <a:r>
                        <a:rPr lang="en-US" sz="9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are not available due to delay in filing.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apital Contingency Process (CCP) was activated, a capital adequacy assessment was made, capital was deemed sufficient and further requirements were waived by ALCO. 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capital metrics are projected to be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een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US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 Rating Exposure</a:t>
                      </a:r>
                      <a:r>
                        <a:rPr lang="en-US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ed to 6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ove </a:t>
                      </a:r>
                      <a:r>
                        <a:rPr lang="en-US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imit by 6.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ily the result of an OCC directive to risk rate CRE Construction transactions as low pass, causing otherwise strong One Obligor relationships to not reach the 5.0 risk rating hurdle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. Meeting with business lines to discuss is scheduled on 8/9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 vMerge="1">
                  <a:txBody>
                    <a:bodyPr/>
                    <a:lstStyle/>
                    <a:p>
                      <a:pPr algn="ctr" fontAlgn="ctr"/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reaches $10.7B above </a:t>
                      </a:r>
                      <a:r>
                        <a:rPr lang="en-US" sz="900" b="1" i="0" u="none" strike="noStrike" kern="120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SimSun"/>
                          <a:cs typeface="Arial" panose="020B0604020202020204" pitchFamily="34" charset="0"/>
                        </a:rPr>
                        <a:t> limit by 0.1B due to a net increase in Commercial Real Estate ($78MM) and SREC ($11MM) segments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ch escalated. Action plans </a:t>
                      </a:r>
                      <a:r>
                        <a:rPr lang="en-US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ate as of 6/16)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 in development. Meeting with business lines to discuss is scheduled on 8/9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ue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 Funding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quidity metrics for June are within appetite but may come under pressure </a:t>
                      </a:r>
                      <a:r>
                        <a:rPr lang="en-US" sz="900" b="0" i="0" u="none" strike="noStrike" kern="1200" baseline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uring July.</a:t>
                      </a:r>
                      <a:endParaRPr lang="en-US" sz="9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995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261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 </a:t>
                      </a:r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 </a:t>
                      </a: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in appetite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within appetite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sng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3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ric is within appetite. However, due to repeated late delivery of first line model documentation from the Fair Lending team, the overall status is set to </a:t>
                      </a:r>
                      <a:r>
                        <a:rPr lang="en-US" sz="900" b="1" i="0" u="none" strike="noStrike" kern="1200" baseline="0" dirty="0" smtClean="0">
                          <a:solidFill>
                            <a:srgbClr val="FFC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until this is resolved. </a:t>
                      </a:r>
                    </a:p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e is potential late delivery of first line documentation from Madrid for market risk models but MRMG has a contingency plan is in place.</a:t>
                      </a: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1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  <a:endParaRPr 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03" marR="10003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23 MR(I)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June 31;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ns addressing MR(I)As</a:t>
                      </a:r>
                      <a:endParaRPr lang="en-US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28" marR="9602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9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eaLnBrk="0" hangingPunct="0">
              <a:defRPr sz="2000" b="1">
                <a:solidFill>
                  <a:prstClr val="black"/>
                </a:solidFill>
                <a:ea typeface="MS PGothic" pitchFamily="34" charset="-128"/>
              </a:defRPr>
            </a:lvl1pPr>
          </a:lstStyle>
          <a:p>
            <a:r>
              <a:rPr lang="en-US" dirty="0"/>
              <a:t>2. Risk Appetite Statement Dashboard</a:t>
            </a:r>
          </a:p>
        </p:txBody>
      </p:sp>
      <p:grpSp>
        <p:nvGrpSpPr>
          <p:cNvPr id="154" name="Group 153"/>
          <p:cNvGrpSpPr/>
          <p:nvPr/>
        </p:nvGrpSpPr>
        <p:grpSpPr>
          <a:xfrm>
            <a:off x="365785" y="6636117"/>
            <a:ext cx="2720794" cy="105863"/>
            <a:chOff x="1201643" y="6031365"/>
            <a:chExt cx="3491000" cy="140904"/>
          </a:xfrm>
        </p:grpSpPr>
        <p:sp>
          <p:nvSpPr>
            <p:cNvPr id="155" name="80 CuadroTexto"/>
            <p:cNvSpPr txBox="1"/>
            <p:nvPr/>
          </p:nvSpPr>
          <p:spPr bwMode="gray">
            <a:xfrm>
              <a:off x="1358881" y="6031365"/>
              <a:ext cx="1138487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Focus of concern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6" name="80 CuadroTexto"/>
            <p:cNvSpPr txBox="1"/>
            <p:nvPr/>
          </p:nvSpPr>
          <p:spPr bwMode="gray">
            <a:xfrm>
              <a:off x="2533608" y="6031365"/>
              <a:ext cx="993775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 smtClean="0">
                  <a:solidFill>
                    <a:srgbClr val="515151"/>
                  </a:solidFill>
                  <a:ea typeface="MS PGothic" pitchFamily="34" charset="-128"/>
                </a:rPr>
                <a:t>Area of attention </a:t>
              </a:r>
              <a:endParaRPr lang="en-GB" sz="800" kern="0" dirty="0">
                <a:solidFill>
                  <a:srgbClr val="515151"/>
                </a:solidFill>
                <a:ea typeface="MS PGothic" pitchFamily="34" charset="-128"/>
              </a:endParaRPr>
            </a:p>
          </p:txBody>
        </p:sp>
        <p:sp>
          <p:nvSpPr>
            <p:cNvPr id="157" name="80 CuadroTexto"/>
            <p:cNvSpPr txBox="1"/>
            <p:nvPr/>
          </p:nvSpPr>
          <p:spPr bwMode="gray">
            <a:xfrm>
              <a:off x="3785070" y="6031365"/>
              <a:ext cx="907573" cy="1409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s-ES"/>
              </a:defPPr>
              <a:lvl1pPr>
                <a:spcBef>
                  <a:spcPts val="600"/>
                </a:spcBef>
                <a:buClr>
                  <a:srgbClr val="FF0000"/>
                </a:buClr>
                <a:defRPr sz="1200"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en-GB" sz="800" kern="0" dirty="0">
                  <a:solidFill>
                    <a:srgbClr val="515151"/>
                  </a:solidFill>
                  <a:ea typeface="MS PGothic" pitchFamily="34" charset="-128"/>
                </a:rPr>
                <a:t>Not a concern</a:t>
              </a:r>
            </a:p>
          </p:txBody>
        </p:sp>
        <p:sp>
          <p:nvSpPr>
            <p:cNvPr id="158" name="116 Elipse"/>
            <p:cNvSpPr/>
            <p:nvPr/>
          </p:nvSpPr>
          <p:spPr bwMode="gray">
            <a:xfrm>
              <a:off x="3622233" y="6037858"/>
              <a:ext cx="120077" cy="120078"/>
            </a:xfrm>
            <a:prstGeom prst="ellipse">
              <a:avLst/>
            </a:prstGeom>
            <a:solidFill>
              <a:srgbClr val="6699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9" name="117 Elipse"/>
            <p:cNvSpPr/>
            <p:nvPr/>
          </p:nvSpPr>
          <p:spPr bwMode="gray">
            <a:xfrm>
              <a:off x="2381418" y="6037858"/>
              <a:ext cx="120077" cy="120078"/>
            </a:xfrm>
            <a:prstGeom prst="ellipse">
              <a:avLst/>
            </a:prstGeom>
            <a:solidFill>
              <a:srgbClr val="FFCC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0" name="119 Elipse"/>
            <p:cNvSpPr/>
            <p:nvPr/>
          </p:nvSpPr>
          <p:spPr bwMode="gray">
            <a:xfrm>
              <a:off x="1201643" y="6037857"/>
              <a:ext cx="120078" cy="120078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sz="800" kern="0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150510" y="5510142"/>
            <a:ext cx="6330762" cy="19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fontAlgn="t">
              <a:defRPr/>
            </a:pPr>
            <a:r>
              <a:rPr lang="en-US" sz="800" dirty="0">
                <a:solidFill>
                  <a:srgbClr val="9D9D9C"/>
                </a:solidFill>
                <a:ea typeface="MS PGothic" pitchFamily="34" charset="-128"/>
                <a:cs typeface="Arial" panose="020B0604020202020204" pitchFamily="34" charset="0"/>
              </a:rPr>
              <a:t>Aggregated RAS status for the purpose of this summary is based on expert judgment and reviewed by ERMC prior to RC and Board. </a:t>
            </a:r>
          </a:p>
        </p:txBody>
      </p:sp>
    </p:spTree>
    <p:extLst>
      <p:ext uri="{BB962C8B-B14F-4D97-AF65-F5344CB8AC3E}">
        <p14:creationId xmlns:p14="http://schemas.microsoft.com/office/powerpoint/2010/main" val="4121169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89511"/>
              </p:ext>
            </p:extLst>
          </p:nvPr>
        </p:nvGraphicFramePr>
        <p:xfrm>
          <a:off x="352425" y="486643"/>
          <a:ext cx="8905874" cy="2514600"/>
        </p:xfrm>
        <a:graphic>
          <a:graphicData uri="http://schemas.openxmlformats.org/drawingml/2006/table">
            <a:tbl>
              <a:tblPr firstRow="1" bandRow="1"/>
              <a:tblGrid>
                <a:gridCol w="742950"/>
                <a:gridCol w="837808"/>
                <a:gridCol w="1272920"/>
                <a:gridCol w="869228"/>
                <a:gridCol w="869228"/>
                <a:gridCol w="770441"/>
                <a:gridCol w="613551"/>
                <a:gridCol w="632979"/>
                <a:gridCol w="2296769"/>
              </a:tblGrid>
              <a:tr h="147299">
                <a:tc grid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9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folio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-16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limit</a:t>
                      </a:r>
                      <a:endParaRPr lang="en-US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9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on Plan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2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 and Reputational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48014" marR="48014">
                    <a:lnL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RT plans addressing</a:t>
                      </a:r>
                      <a:r>
                        <a:rPr lang="en-US" sz="9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MR(I)As</a:t>
                      </a:r>
                      <a:endParaRPr lang="en-US" sz="9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4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dit</a:t>
                      </a: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ligor</a:t>
                      </a:r>
                      <a:r>
                        <a:rPr lang="en-US" sz="9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9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0</a:t>
                      </a:r>
                      <a:endParaRPr lang="en-US" sz="9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  <a:endParaRPr 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8247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kern="1200" baseline="30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amily Exposure</a:t>
                      </a:r>
                      <a:r>
                        <a:rPr lang="en-US" sz="9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90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48014" marR="4801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7B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.5B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9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ch escalated.</a:t>
                      </a:r>
                      <a:r>
                        <a:rPr lang="en-US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tion plans (late as of 6/16) are in development. </a:t>
                      </a:r>
                      <a:r>
                        <a:rPr lang="en-US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 with business lines to discuss is scheduled on 8/9.</a:t>
                      </a:r>
                    </a:p>
                  </a:txBody>
                  <a:tcPr marL="48014" marR="48014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66744" y="248488"/>
            <a:ext cx="933604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2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. Risk Appetite </a:t>
            </a:r>
            <a:r>
              <a:rPr lang="en-US" sz="2000" b="1" dirty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Statement </a:t>
            </a:r>
            <a:r>
              <a:rPr lang="en-US" sz="200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</a:rPr>
              <a:t>– Amber and Red metrics</a:t>
            </a:r>
            <a:endParaRPr lang="en-US" sz="2000" b="1" dirty="0">
              <a:solidFill>
                <a:prstClr val="black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Footnote"/>
          <p:cNvSpPr/>
          <p:nvPr/>
        </p:nvSpPr>
        <p:spPr bwMode="auto">
          <a:xfrm>
            <a:off x="1979523" y="6566315"/>
            <a:ext cx="8903637" cy="27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1" algn="l"/>
            <a:endParaRPr lang="en-US" sz="700" dirty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#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 smtClean="0"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  <a:sym typeface="Arial"/>
            </a:endParaRPr>
          </a:p>
          <a:p>
            <a:pPr marL="228600" lvl="1" indent="-228600" algn="l">
              <a:buFontTx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  <a:endParaRPr lang="en-US" sz="700" dirty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060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173659"/>
              </p:ext>
            </p:extLst>
          </p:nvPr>
        </p:nvGraphicFramePr>
        <p:xfrm>
          <a:off x="349319" y="660285"/>
          <a:ext cx="8905310" cy="2359152"/>
        </p:xfrm>
        <a:graphic>
          <a:graphicData uri="http://schemas.openxmlformats.org/drawingml/2006/table">
            <a:tbl>
              <a:tblPr firstRow="1" bandRow="1"/>
              <a:tblGrid>
                <a:gridCol w="718022"/>
                <a:gridCol w="1628234"/>
                <a:gridCol w="723900"/>
                <a:gridCol w="647700"/>
                <a:gridCol w="571500"/>
                <a:gridCol w="600075"/>
                <a:gridCol w="590550"/>
                <a:gridCol w="742950"/>
                <a:gridCol w="695325"/>
                <a:gridCol w="523875"/>
                <a:gridCol w="714375"/>
                <a:gridCol w="748804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line scenario</a:t>
                      </a:r>
                      <a:endParaRPr lang="en-US" sz="1000" b="1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 Stress scenario</a:t>
                      </a:r>
                    </a:p>
                  </a:txBody>
                  <a:tcPr marL="36576" marR="36576" marT="36576" marB="3657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se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HC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tress</a:t>
                      </a:r>
                      <a:r>
                        <a:rPr lang="en-US" sz="1000" b="1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438912">
                <a:tc row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tios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576" marR="36576" marT="36576" marB="3657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Common Equity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er 1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1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7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0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4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5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Risk-based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55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16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4.25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3.50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37%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Leverage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5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8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5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4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.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03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8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438912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ier 1 Risk-based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pital</a:t>
                      </a:r>
                      <a:r>
                        <a:rPr lang="en-US" sz="10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79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65%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.5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.7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9" name="Footnote"/>
          <p:cNvSpPr/>
          <p:nvPr/>
        </p:nvSpPr>
        <p:spPr>
          <a:xfrm>
            <a:off x="2228518" y="6332539"/>
            <a:ext cx="5000958" cy="43088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rrespond to “Worst Quarter” complementary metrics in Group RAS</a:t>
            </a: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marL="228600" indent="-228600" algn="l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7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72254" y="60178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1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8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496548"/>
              </p:ext>
            </p:extLst>
          </p:nvPr>
        </p:nvGraphicFramePr>
        <p:xfrm>
          <a:off x="348436" y="704215"/>
          <a:ext cx="8906195" cy="5384927"/>
        </p:xfrm>
        <a:graphic>
          <a:graphicData uri="http://schemas.openxmlformats.org/drawingml/2006/table">
            <a:tbl>
              <a:tblPr firstRow="1" bandRow="1"/>
              <a:tblGrid>
                <a:gridCol w="995871"/>
                <a:gridCol w="2441801"/>
                <a:gridCol w="807780"/>
                <a:gridCol w="708685"/>
                <a:gridCol w="860102"/>
                <a:gridCol w="816546"/>
                <a:gridCol w="838324"/>
                <a:gridCol w="718543"/>
                <a:gridCol w="718543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46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C Tota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 RWA</a:t>
                      </a:r>
                      <a:endParaRPr lang="en-US" sz="1000" b="0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1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with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6.0B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xc. PL</a:t>
                      </a:r>
                      <a:r>
                        <a:rPr lang="en-US" sz="1000" b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 - $2BN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39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 of CET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&gt;=$41.8B]</a:t>
                      </a:r>
                      <a:endParaRPr lang="en-US" sz="100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74193">
                <a:tc rowSpan="6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 Charge-off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m</a:t>
                      </a: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0.6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1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8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90%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6441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4%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1.4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7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9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/61+</a:t>
                      </a:r>
                      <a:r>
                        <a:rPr lang="en-US" sz="10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PD Rat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Retail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9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7%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84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3.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Auto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4%</a:t>
                      </a:r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8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4%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.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1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3% 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4.3% 	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.6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7.1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rowSpan="1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oncentration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Single Obligo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xposure (Corporates &amp; FIs)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0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$500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p 20 Corporates Exposu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36 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8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Obligor</a:t>
                      </a:r>
                      <a:r>
                        <a:rPr lang="en-US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ating Exposur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Industry Exposur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 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ne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over limit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&amp;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surance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1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6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ie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r>
                        <a:rPr lang="en-US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2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6B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0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.5B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CR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9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ultifamily Exposure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7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0.6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11.1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Project Finance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B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8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3.7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.25B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lic Sector Exposure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PR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6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436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43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463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Subprime Assets</a:t>
                      </a:r>
                      <a:r>
                        <a:rPr lang="en-US" sz="100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29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30%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Total Subprime Asse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%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Credit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sure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372254" y="6132110"/>
            <a:ext cx="2350290" cy="125740"/>
            <a:chOff x="372254" y="5975278"/>
            <a:chExt cx="2350290" cy="125740"/>
          </a:xfrm>
        </p:grpSpPr>
        <p:sp>
          <p:nvSpPr>
            <p:cNvPr id="12" name="TextBox 11"/>
            <p:cNvSpPr txBox="1"/>
            <p:nvPr/>
          </p:nvSpPr>
          <p:spPr>
            <a:xfrm>
              <a:off x="86306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2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ootnote"/>
          <p:cNvSpPr/>
          <p:nvPr/>
        </p:nvSpPr>
        <p:spPr>
          <a:xfrm>
            <a:off x="2228517" y="6208714"/>
            <a:ext cx="5305757" cy="648575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Abbreviation for Personal Lending – Lending Club (sold on Feb 1</a:t>
            </a:r>
            <a:r>
              <a:rPr lang="en-US" sz="700" baseline="30000" dirty="0">
                <a:latin typeface="Arial"/>
                <a:ea typeface="ＭＳ Ｐゴシック"/>
                <a:sym typeface="Arial"/>
              </a:rPr>
              <a:t>s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), Bluestem &amp; NCL (Held for Sale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# of counterparties with </a:t>
            </a:r>
            <a:r>
              <a:rPr lang="en-US" sz="700" dirty="0" err="1">
                <a:latin typeface="Arial"/>
                <a:ea typeface="ＭＳ Ｐゴシック"/>
                <a:sym typeface="Arial"/>
              </a:rPr>
              <a:t>Sant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. Risk Rating &lt; 5.0 &amp; exposure&gt;$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100M</a:t>
            </a: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ea typeface="ＭＳ Ｐゴシック"/>
              </a:rPr>
              <a:t>Subprime is defined as FICO &lt; 630 or no FICO score available (excluding Commercial Fleet s</a:t>
            </a:r>
            <a:r>
              <a:rPr lang="en-US" sz="700" dirty="0" smtClean="0">
                <a:ea typeface="ＭＳ Ｐゴシック"/>
              </a:rPr>
              <a:t>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2015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 smtClean="0"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482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617514"/>
              </p:ext>
            </p:extLst>
          </p:nvPr>
        </p:nvGraphicFramePr>
        <p:xfrm>
          <a:off x="348436" y="704215"/>
          <a:ext cx="8906195" cy="4957440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2492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un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y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idual valu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Residual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isk / CRLIT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8%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63%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32%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3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-5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6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/funding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esse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od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ays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,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 days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ays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7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45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io – EUR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1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4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iquidity Coverage Ratio Modified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US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6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Structural Funding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io (%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%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3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360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ity Horizon - 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esale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enario 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arent</a:t>
                      </a:r>
                      <a:r>
                        <a:rPr lang="en-US" sz="10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ly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2 Months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12 Month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6  Months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Asset Encumbrance (%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dirty="0" smtClean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0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7432" marR="27432" marT="27432" marB="27432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5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6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t rate</a:t>
                      </a:r>
                      <a:r>
                        <a:rPr lang="en-US" sz="1000" b="0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NII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7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133)MM</a:t>
                      </a: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4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</a:t>
                      </a:r>
                      <a:r>
                        <a:rPr lang="en-US" sz="10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-5.5%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*MVE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#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nsitivity(+/- 100bps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.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92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(920)MM</a:t>
                      </a: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6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=-7.5%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Market Value at Risk (</a:t>
                      </a:r>
                      <a:r>
                        <a:rPr lang="en-US" sz="1000" b="0" i="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aR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b="0" i="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8M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0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r>
                        <a:rPr lang="en-US" sz="1000" b="1" i="0" kern="12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7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9.0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17673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cy Tier 1 Models in Production w/o Appropriate Approval</a:t>
                      </a:r>
                      <a:endParaRPr lang="en-US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: 59 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US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BNA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Other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en-US" sz="10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69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HUS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18</a:t>
                      </a: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– 35</a:t>
                      </a:r>
                      <a:endParaRPr lang="en-US" sz="10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100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 – 3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20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NA – 26 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ther </a:t>
                      </a:r>
                      <a:r>
                        <a:rPr lang="en-US" sz="10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nt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51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6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48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2016 – 11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Q2016 – 103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2016 – 46</a:t>
                      </a:r>
                    </a:p>
                    <a:p>
                      <a:pPr mar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2017 – 0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24929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ianc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Reputational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/>
                          <a:cs typeface="Arial" panose="020B0604020202020204" pitchFamily="34" charset="0"/>
                        </a:rPr>
                        <a:t>Open MRIAs and other equivalent matters requiring immediate attention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/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0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Monthly Metrics (3/3)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ootnote"/>
          <p:cNvSpPr/>
          <p:nvPr/>
        </p:nvSpPr>
        <p:spPr>
          <a:xfrm>
            <a:off x="2247567" y="6146257"/>
            <a:ext cx="5305757" cy="1032399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eaLnBrk="1" hangingPunct="1"/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Portfolio level granularity available in Entity RAS 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is on a 2-month lag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CRLIT Contract Residual less Incentives and Tax; NII: Net Interest Income; MVE: Market Value of Equity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Updated limit from 2015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  <a:sym typeface="Arial"/>
              </a:rPr>
              <a:t>Metric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is not available due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to SC system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error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/>
              <a:t>IHC exposures will be paired to the SHUSA IHC limits with July end </a:t>
            </a:r>
            <a:r>
              <a:rPr lang="en-US" sz="700" dirty="0" smtClean="0"/>
              <a:t>figures</a:t>
            </a:r>
          </a:p>
          <a:p>
            <a:pPr marL="114300" indent="-114300" algn="l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Start to report from June 2016</a:t>
            </a:r>
            <a:endParaRPr lang="en-US" sz="700" dirty="0"/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  <a:p>
            <a:pPr marL="114300" indent="-114300" algn="l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72254" y="6074960"/>
            <a:ext cx="2327430" cy="125740"/>
            <a:chOff x="372254" y="5975278"/>
            <a:chExt cx="2327430" cy="125740"/>
          </a:xfrm>
        </p:grpSpPr>
        <p:sp>
          <p:nvSpPr>
            <p:cNvPr id="21" name="TextBox 20"/>
            <p:cNvSpPr txBox="1"/>
            <p:nvPr/>
          </p:nvSpPr>
          <p:spPr>
            <a:xfrm>
              <a:off x="84020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4408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372254" y="6017810"/>
            <a:ext cx="593022" cy="119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b="1" dirty="0" smtClean="0"/>
              <a:t>Legend</a:t>
            </a:r>
            <a:endParaRPr lang="en-GB" sz="9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1496" y="263720"/>
            <a:ext cx="8983134" cy="35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Risk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ppetit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tement – Quarterly / Annual Metrics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619685"/>
              </p:ext>
            </p:extLst>
          </p:nvPr>
        </p:nvGraphicFramePr>
        <p:xfrm>
          <a:off x="348436" y="2104390"/>
          <a:ext cx="8894248" cy="755904"/>
        </p:xfrm>
        <a:graphic>
          <a:graphicData uri="http://schemas.openxmlformats.org/drawingml/2006/table">
            <a:tbl>
              <a:tblPr firstRow="1" bandRow="1"/>
              <a:tblGrid>
                <a:gridCol w="1225183"/>
                <a:gridCol w="3147237"/>
                <a:gridCol w="850604"/>
                <a:gridCol w="871870"/>
                <a:gridCol w="1031358"/>
                <a:gridCol w="883998"/>
                <a:gridCol w="883998"/>
              </a:tblGrid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135420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equacy (other)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NR Impairment 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913M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639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$5,861M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Loss in Stress</a:t>
                      </a:r>
                      <a:r>
                        <a:rPr lang="en-US" sz="1000" b="1" i="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0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54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dit risk (losses)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 Credit Losses </a:t>
                      </a:r>
                      <a:r>
                        <a:rPr lang="en-US" sz="1000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CAR 9Q)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0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052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2,6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3,186M</a:t>
                      </a: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  <p:sp>
        <p:nvSpPr>
          <p:cNvPr id="11" name="Footnote"/>
          <p:cNvSpPr/>
          <p:nvPr/>
        </p:nvSpPr>
        <p:spPr>
          <a:xfrm>
            <a:off x="2228517" y="6208714"/>
            <a:ext cx="5305757" cy="648575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4300" indent="-114300" algn="l" eaLnBrk="1" hangingPunct="1">
              <a:buFont typeface="+mj-lt"/>
              <a:buAutoNum type="arabicPeriod"/>
            </a:pP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  <a:sym typeface="Arial"/>
              </a:rPr>
              <a:t>Portfolio </a:t>
            </a:r>
            <a:r>
              <a:rPr lang="en-US" sz="700" dirty="0">
                <a:latin typeface="Arial"/>
                <a:ea typeface="ＭＳ Ｐゴシック"/>
                <a:sym typeface="Arial"/>
              </a:rPr>
              <a:t>level granularity available in Entity RAS </a:t>
            </a:r>
            <a:r>
              <a:rPr lang="en-US" sz="700" dirty="0" smtClean="0">
                <a:latin typeface="Arial"/>
                <a:ea typeface="ＭＳ Ｐゴシック"/>
                <a:sym typeface="Arial"/>
              </a:rPr>
              <a:t>materials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Updated limit from 2015</a:t>
            </a:r>
            <a:endParaRPr lang="en-US" sz="700" dirty="0" smtClean="0">
              <a:latin typeface="Arial"/>
              <a:ea typeface="ＭＳ Ｐゴシック"/>
              <a:sym typeface="Arial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Limits </a:t>
            </a:r>
            <a:r>
              <a:rPr lang="en-US" sz="700" dirty="0">
                <a:solidFill>
                  <a:srgbClr val="000000"/>
                </a:solidFill>
                <a:ea typeface="ＭＳ Ｐゴシック"/>
              </a:rPr>
              <a:t>changed from 5 limit 3 trigger to 2 limit 1.5 </a:t>
            </a:r>
            <a:r>
              <a:rPr lang="en-US" sz="700" dirty="0" smtClean="0">
                <a:solidFill>
                  <a:srgbClr val="000000"/>
                </a:solidFill>
                <a:ea typeface="ＭＳ Ｐゴシック"/>
              </a:rPr>
              <a:t>trigger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>
                <a:latin typeface="Arial"/>
                <a:ea typeface="ＭＳ Ｐゴシック"/>
              </a:rPr>
              <a:t>C</a:t>
            </a:r>
            <a:r>
              <a:rPr lang="en-US" sz="700" dirty="0" smtClean="0">
                <a:latin typeface="Arial"/>
                <a:ea typeface="ＭＳ Ｐゴシック"/>
              </a:rPr>
              <a:t>hanged </a:t>
            </a:r>
            <a:r>
              <a:rPr lang="en-US" sz="700" dirty="0">
                <a:latin typeface="Arial"/>
                <a:ea typeface="ＭＳ Ｐゴシック"/>
              </a:rPr>
              <a:t>to include all material operational risk </a:t>
            </a:r>
            <a:r>
              <a:rPr lang="en-US" sz="700" dirty="0" smtClean="0">
                <a:latin typeface="Arial"/>
                <a:ea typeface="ＭＳ Ｐゴシック"/>
              </a:rPr>
              <a:t>events from ones </a:t>
            </a:r>
            <a:r>
              <a:rPr lang="en-US" sz="700" dirty="0">
                <a:latin typeface="Arial"/>
                <a:ea typeface="ＭＳ Ｐゴシック"/>
              </a:rPr>
              <a:t>with financial loss of greater than $</a:t>
            </a:r>
            <a:r>
              <a:rPr lang="en-US" sz="700" dirty="0" smtClean="0">
                <a:latin typeface="Arial"/>
                <a:ea typeface="ＭＳ Ｐゴシック"/>
              </a:rPr>
              <a:t>200k (now $500k)</a:t>
            </a:r>
          </a:p>
          <a:p>
            <a:pPr marL="114300" indent="-114300" algn="l" eaLnBrk="1" hangingPunct="1">
              <a:buFont typeface="+mj-lt"/>
              <a:buAutoNum type="arabicPeriod"/>
            </a:pPr>
            <a:r>
              <a:rPr lang="en-US" sz="700" dirty="0" smtClean="0">
                <a:latin typeface="Arial"/>
                <a:ea typeface="ＭＳ Ｐゴシック"/>
              </a:rPr>
              <a:t>Apply to </a:t>
            </a:r>
            <a:r>
              <a:rPr lang="en-US" sz="700" dirty="0">
                <a:latin typeface="Arial"/>
                <a:ea typeface="ＭＳ Ｐゴシック"/>
              </a:rPr>
              <a:t>all </a:t>
            </a:r>
            <a:r>
              <a:rPr lang="en-US" sz="700" dirty="0" smtClean="0">
                <a:latin typeface="Arial"/>
                <a:ea typeface="ＭＳ Ｐゴシック"/>
              </a:rPr>
              <a:t>IHC entities </a:t>
            </a:r>
            <a:r>
              <a:rPr lang="en-US" sz="700" dirty="0">
                <a:latin typeface="Arial"/>
                <a:ea typeface="ＭＳ Ｐゴシック"/>
              </a:rPr>
              <a:t>(SBNA, SC, PR Bancorp, SSLLC, SIS, </a:t>
            </a:r>
            <a:r>
              <a:rPr lang="en-US" sz="700" dirty="0" smtClean="0">
                <a:latin typeface="Arial"/>
                <a:ea typeface="ＭＳ Ｐゴシック"/>
              </a:rPr>
              <a:t>BSI</a:t>
            </a:r>
            <a:r>
              <a:rPr lang="en-US" sz="700" dirty="0" smtClean="0">
                <a:latin typeface="Arial"/>
                <a:ea typeface="ＭＳ Ｐゴシック"/>
              </a:rPr>
              <a:t>) from July reporting</a:t>
            </a:r>
            <a:endParaRPr lang="en-US" sz="700" dirty="0">
              <a:latin typeface="Arial"/>
              <a:ea typeface="ＭＳ Ｐゴシック"/>
            </a:endParaRPr>
          </a:p>
          <a:p>
            <a:pPr marL="114300" indent="-114300" algn="l" eaLnBrk="1" hangingPunct="1">
              <a:buFont typeface="+mj-lt"/>
              <a:buAutoNum type="arabicPeriod"/>
            </a:pPr>
            <a:endParaRPr lang="en-US" sz="700" dirty="0"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72254" y="6017810"/>
            <a:ext cx="2316000" cy="125740"/>
            <a:chOff x="372254" y="5975278"/>
            <a:chExt cx="2316000" cy="125740"/>
          </a:xfrm>
        </p:grpSpPr>
        <p:sp>
          <p:nvSpPr>
            <p:cNvPr id="13" name="TextBox 12"/>
            <p:cNvSpPr txBox="1"/>
            <p:nvPr/>
          </p:nvSpPr>
          <p:spPr>
            <a:xfrm>
              <a:off x="828771" y="5981883"/>
              <a:ext cx="1859483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eaLnBrk="1" hangingPunct="1">
                <a:lnSpc>
                  <a:spcPct val="86000"/>
                </a:lnSpc>
              </a:pP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* </a:t>
              </a:r>
              <a:r>
                <a:rPr lang="en-US" sz="900" dirty="0">
                  <a:solidFill>
                    <a:srgbClr val="000000"/>
                  </a:solidFill>
                  <a:ea typeface="ＭＳ Ｐゴシック"/>
                </a:rPr>
                <a:t>R</a:t>
              </a:r>
              <a:r>
                <a:rPr lang="en-US" sz="900" dirty="0" smtClean="0">
                  <a:solidFill>
                    <a:srgbClr val="000000"/>
                  </a:solidFill>
                  <a:ea typeface="ＭＳ Ｐゴシック"/>
                </a:rPr>
                <a:t>eported in Santander Group RAS</a:t>
              </a:r>
              <a:endParaRPr lang="en-US" sz="900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2254" y="5975278"/>
              <a:ext cx="593022" cy="1191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900" b="1" dirty="0" smtClean="0"/>
                <a:t>Legend</a:t>
              </a:r>
              <a:endParaRPr lang="en-GB" sz="900" b="1" dirty="0"/>
            </a:p>
          </p:txBody>
        </p:sp>
      </p:grp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353366"/>
              </p:ext>
            </p:extLst>
          </p:nvPr>
        </p:nvGraphicFramePr>
        <p:xfrm>
          <a:off x="348436" y="704215"/>
          <a:ext cx="8906195" cy="1129792"/>
        </p:xfrm>
        <a:graphic>
          <a:graphicData uri="http://schemas.openxmlformats.org/drawingml/2006/table">
            <a:tbl>
              <a:tblPr firstRow="1" bandRow="1"/>
              <a:tblGrid>
                <a:gridCol w="995625"/>
                <a:gridCol w="2555931"/>
                <a:gridCol w="690993"/>
                <a:gridCol w="705853"/>
                <a:gridCol w="839593"/>
                <a:gridCol w="839593"/>
                <a:gridCol w="839593"/>
                <a:gridCol w="718301"/>
                <a:gridCol w="720713"/>
              </a:tblGrid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type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ity</a:t>
                      </a:r>
                      <a:r>
                        <a:rPr lang="en-US" sz="10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Q 16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Q</a:t>
                      </a:r>
                      <a:r>
                        <a:rPr lang="en-US" sz="10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5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mber trigger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  <a:cs typeface="ＭＳ Ｐゴシック"/>
                        </a:defRPr>
                      </a:lvl9pPr>
                    </a:lstStyle>
                    <a:p>
                      <a:pPr marL="0" indent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 limit</a:t>
                      </a:r>
                      <a:endParaRPr lang="en-US" sz="10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mpd="sng">
                      <a:noFill/>
                      <a:prstDash val="soli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</a:tr>
              <a:tr h="397687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al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Gross Operation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sk L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ses </a:t>
                      </a: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Margin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railing 12m)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25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%</a:t>
                      </a:r>
                    </a:p>
                  </a:txBody>
                  <a:tcPr marL="18288" marR="18288" marT="18288" marB="18288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.96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60%</a:t>
                      </a: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.5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2.0%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  <a:tr h="138003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al Risk E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s</a:t>
                      </a:r>
                      <a:r>
                        <a:rPr lang="en-US" sz="10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USA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8288" marR="18288" marT="18288" marB="1828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6E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9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=11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144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f19bde990ad741f46f5ea7ce4e19f2444f18fb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4&quot;&gt;&lt;elem m_fUsage=&quot;4.86540966304618920000E+000&quot;&gt;&lt;m_msothmcolidx val=&quot;0&quot;/&gt;&lt;m_rgb r=&quot;eb&quot; g=&quot;3&quot; b=&quot;26&quot;/&gt;&lt;m_ppcolschidx tagver0=&quot;23004&quot; tagname0=&quot;m_ppcolschidxUNRECOGNIZED&quot; val=&quot;0&quot;/&gt;&lt;m_nBrightness val=&quot;0&quot;/&gt;&lt;/elem&gt;&lt;elem m_fUsage=&quot;3.88172892307468010000E+000&quot;&gt;&lt;m_msothmcolidx val=&quot;0&quot;/&gt;&lt;m_rgb r=&quot;ff&quot; g=&quot;bf&quot; b=&quot;27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ff&quot; g=&quot;fa&quot; b=&quot;2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ISPRING_RESOURCE_PATHS_HASH_PRESENTER" val="f01d211bc0a0c2ddcfd62f283e8fc92d14a39d5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dy Slide">
  <a:themeElements>
    <a:clrScheme name="Colour Theme propossal">
      <a:dk1>
        <a:srgbClr val="000000"/>
      </a:dk1>
      <a:lt1>
        <a:sysClr val="window" lastClr="FFFFFF"/>
      </a:lt1>
      <a:dk2>
        <a:srgbClr val="000000"/>
      </a:dk2>
      <a:lt2>
        <a:srgbClr val="7F7F7F"/>
      </a:lt2>
      <a:accent1>
        <a:srgbClr val="FF0000"/>
      </a:accent1>
      <a:accent2>
        <a:srgbClr val="A5A5A5"/>
      </a:accent2>
      <a:accent3>
        <a:srgbClr val="FFFFFF"/>
      </a:accent3>
      <a:accent4>
        <a:srgbClr val="3F3F3F"/>
      </a:accent4>
      <a:accent5>
        <a:srgbClr val="FFAAAA"/>
      </a:accent5>
      <a:accent6>
        <a:srgbClr val="AEAEAE"/>
      </a:accent6>
      <a:hlink>
        <a:srgbClr val="777777"/>
      </a:hlink>
      <a:folHlink>
        <a:srgbClr val="29292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tx1"/>
          </a:solidFill>
        </a:ln>
        <a:effectLst/>
      </a:spPr>
      <a:bodyPr rtlCol="0" anchor="ctr"/>
      <a:lstStyle>
        <a:defPPr algn="ctr">
          <a:defRPr sz="12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liver Wyman">
      <a:dk1>
        <a:srgbClr val="000000"/>
      </a:dk1>
      <a:lt1>
        <a:srgbClr val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14.xml><?xml version="1.0" encoding="utf-8"?>
<mso:customUI xmlns:mso="http://schemas.microsoft.com/office/2009/07/customui">
  <mso:ribbon>
    <mso:contextualTabs>
      <mso:tabSet idMso="TabSetTableTools">
        <mso:tab idQ="mso:TabTableToolsDesign">
          <mso:group idQ="mso:GroupTableStylesPowerPoint" visible="false"/>
          <mso:group id="OWTable" label="Table" autoScale="true">
            <mso:gallery idQ="mso:ShadingColorPicker" showInRibbon="false" visible="true"/>
            <mso:control idQ="mso:TableBordersMenu" visible="true"/>
          </mso:group>
        </mso:tab>
      </mso:tabSet>
    </mso:contextualTabs>
  </mso:ribbon>
</mso:customUI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989</TotalTime>
  <Words>1729</Words>
  <Application>Microsoft Office PowerPoint</Application>
  <PresentationFormat>Custom</PresentationFormat>
  <Paragraphs>525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1_Body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liver Wyman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ng, Wanxin</dc:creator>
  <cp:keywords>Template version: 2015/07/23;Update Pack: 2015/09/15</cp:keywords>
  <cp:lastModifiedBy>Zhang, Zhiyi</cp:lastModifiedBy>
  <cp:revision>1503</cp:revision>
  <cp:lastPrinted>2016-08-03T15:31:32Z</cp:lastPrinted>
  <dcterms:created xsi:type="dcterms:W3CDTF">2016-03-28T17:49:32Z</dcterms:created>
  <dcterms:modified xsi:type="dcterms:W3CDTF">2016-08-08T17:3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5/07/23</vt:lpwstr>
  </property>
  <property fmtid="{D5CDD505-2E9C-101B-9397-08002B2CF9AE}" pid="3" name="DocumentMSOLanguageID">
    <vt:lpwstr>msoLanguageIDEnglishUK</vt:lpwstr>
  </property>
  <property fmtid="{D5CDD505-2E9C-101B-9397-08002B2CF9AE}" pid="4" name="LogoName">
    <vt:lpwstr>Oliver Wyman</vt:lpwstr>
  </property>
</Properties>
</file>